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9" r:id="rId4"/>
  </p:sldMasterIdLst>
  <p:notesMasterIdLst>
    <p:notesMasterId r:id="rId14"/>
  </p:notesMasterIdLst>
  <p:handoutMasterIdLst>
    <p:handoutMasterId r:id="rId15"/>
  </p:handoutMasterIdLst>
  <p:sldIdLst>
    <p:sldId id="258" r:id="rId5"/>
    <p:sldId id="278" r:id="rId6"/>
    <p:sldId id="280" r:id="rId7"/>
    <p:sldId id="281" r:id="rId8"/>
    <p:sldId id="272" r:id="rId9"/>
    <p:sldId id="284" r:id="rId10"/>
    <p:sldId id="285" r:id="rId11"/>
    <p:sldId id="286" r:id="rId12"/>
    <p:sldId id="287" r:id="rId13"/>
  </p:sldIdLst>
  <p:sldSz cx="12192000" cy="6858000"/>
  <p:notesSz cx="6858000" cy="9144000"/>
  <p:custDataLst>
    <p:tags r:id="rId16"/>
  </p:custDataLst>
  <p:defaultTextStyle>
    <a:defPPr marL="0" marR="0" indent="0" algn="l" defTabSz="457189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114297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228595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342892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457189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571486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685783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800080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914377" algn="ctr" defTabSz="41274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FFFFFF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ogan Reidel" initials="LR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0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33BA23B1-9221-436E-865A-0063620EA4FD}" styleName="">
    <a:tblBg/>
    <a:wholeTb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09090"/>
              </a:solidFill>
              <a:prstDash val="solid"/>
              <a:miter lim="400000"/>
            </a:ln>
          </a:left>
          <a:right>
            <a:ln w="12700" cap="flat">
              <a:solidFill>
                <a:srgbClr val="909090"/>
              </a:solidFill>
              <a:prstDash val="solid"/>
              <a:miter lim="400000"/>
            </a:ln>
          </a:right>
          <a:top>
            <a:ln w="12700" cap="flat">
              <a:solidFill>
                <a:srgbClr val="909090"/>
              </a:solidFill>
              <a:prstDash val="solid"/>
              <a:miter lim="400000"/>
            </a:ln>
          </a:top>
          <a:bottom>
            <a:ln w="12700" cap="flat">
              <a:solidFill>
                <a:srgbClr val="909090"/>
              </a:solidFill>
              <a:prstDash val="solid"/>
              <a:miter lim="400000"/>
            </a:ln>
          </a:bottom>
          <a:insideH>
            <a:ln w="12700" cap="flat">
              <a:solidFill>
                <a:srgbClr val="909090"/>
              </a:solidFill>
              <a:prstDash val="solid"/>
              <a:miter lim="400000"/>
            </a:ln>
          </a:insideH>
          <a:insideV>
            <a:ln w="12700" cap="flat">
              <a:solidFill>
                <a:srgbClr val="90909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797A7B">
              <a:alpha val="3000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25400" cap="flat">
              <a:solidFill>
                <a:srgbClr val="D6D7D6"/>
              </a:solidFill>
              <a:prstDash val="solid"/>
              <a:miter lim="400000"/>
            </a:ln>
          </a:insideV>
        </a:tcBdr>
        <a:fill>
          <a:solidFill>
            <a:srgbClr val="1F2428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25400" cap="flat">
              <a:solidFill>
                <a:srgbClr val="D6D7D6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84B4C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25400" cap="flat">
              <a:solidFill>
                <a:srgbClr val="D6D7D6"/>
              </a:solidFill>
              <a:prstDash val="solid"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84B4C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A74341F-B2B5-7741-B2C1-FB00404840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B96300-879C-FC4C-87DA-514377FC69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EA415F-0931-B543-AF43-A3D2E34D1A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C69A4-8824-E64A-8BED-18AD7D64096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F0913F-B61A-7E43-A00B-0CB6D4D9BD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DBC6FC-CA44-EA4B-AED5-B24EB53A6573}" type="datetimeFigureOut">
              <a:rPr lang="en-US" smtClean="0"/>
              <a:t>8/11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880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Shape 407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08" name="Shape 408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1pPr>
    <a:lvl2pPr indent="114297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2pPr>
    <a:lvl3pPr indent="228595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3pPr>
    <a:lvl4pPr indent="342892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4pPr>
    <a:lvl5pPr indent="457189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5pPr>
    <a:lvl6pPr indent="571486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6pPr>
    <a:lvl7pPr indent="685783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7pPr>
    <a:lvl8pPr indent="800080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8pPr>
    <a:lvl9pPr indent="914377" defTabSz="228595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E4138E-EC04-441B-98EE-595BDB1F96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42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E4138E-EC04-441B-98EE-595BDB1F9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863A390-3DB2-4299-A094-3CB8103585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8" name="Write short sentence here.">
            <a:extLst>
              <a:ext uri="{FF2B5EF4-FFF2-40B4-BE49-F238E27FC236}">
                <a16:creationId xmlns:a16="http://schemas.microsoft.com/office/drawing/2014/main" id="{CBB73630-589E-D648-8C42-9FDCD92878E9}"/>
              </a:ext>
            </a:extLst>
          </p:cNvPr>
          <p:cNvSpPr txBox="1">
            <a:spLocks noGrp="1"/>
          </p:cNvSpPr>
          <p:nvPr>
            <p:ph type="body" sz="quarter" idx="17" hasCustomPrompt="1"/>
          </p:nvPr>
        </p:nvSpPr>
        <p:spPr>
          <a:xfrm>
            <a:off x="440263" y="3463725"/>
            <a:ext cx="4705478" cy="59503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4000" b="1" spc="5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Date</a:t>
            </a:r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56D892-35F3-834B-8C4B-4342C0B6E8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266" y="1133984"/>
            <a:ext cx="3668747" cy="713188"/>
          </a:xfrm>
          <a:prstGeom prst="rect">
            <a:avLst/>
          </a:prstGeom>
        </p:spPr>
      </p:pic>
      <p:sp>
        <p:nvSpPr>
          <p:cNvPr id="8" name="Title Here">
            <a:extLst>
              <a:ext uri="{FF2B5EF4-FFF2-40B4-BE49-F238E27FC236}">
                <a16:creationId xmlns:a16="http://schemas.microsoft.com/office/drawing/2014/main" id="{B3FDDC9A-FD13-A34C-BB0F-8FAB213F5AE4}"/>
              </a:ext>
            </a:extLst>
          </p:cNvPr>
          <p:cNvSpPr txBox="1"/>
          <p:nvPr userDrawn="1"/>
        </p:nvSpPr>
        <p:spPr>
          <a:xfrm>
            <a:off x="440267" y="6476513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l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8CD6778-BF07-4C89-94AF-7643FD69A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263" y="2560528"/>
            <a:ext cx="10739014" cy="841256"/>
          </a:xfrm>
        </p:spPr>
        <p:txBody>
          <a:bodyPr wrap="square">
            <a:spAutoFit/>
          </a:bodyPr>
          <a:lstStyle>
            <a:lvl1pPr algn="l">
              <a:defRPr sz="4800" b="1"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A7DC3C0A-90DA-2C4D-B737-CD4E2A155C8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636" y="19878"/>
            <a:ext cx="52993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3549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IGHT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D02782F-9C39-E74A-8753-CAAD891882A0}"/>
              </a:ext>
            </a:extLst>
          </p:cNvPr>
          <p:cNvSpPr/>
          <p:nvPr userDrawn="1"/>
        </p:nvSpPr>
        <p:spPr>
          <a:xfrm>
            <a:off x="7145867" y="0"/>
            <a:ext cx="5046133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rot="0" spcFirstLastPara="0" vertOverflow="overflow" horzOverflow="overflow" vert="horz" wrap="square" lIns="0" tIns="45720" rIns="18288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2250" err="1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Long sentence written here.">
            <a:extLst>
              <a:ext uri="{FF2B5EF4-FFF2-40B4-BE49-F238E27FC236}">
                <a16:creationId xmlns:a16="http://schemas.microsoft.com/office/drawing/2014/main" id="{94130470-45EC-D04C-B31D-292AC5C9E44D}"/>
              </a:ext>
            </a:extLst>
          </p:cNvPr>
          <p:cNvSpPr txBox="1">
            <a:spLocks noGrp="1"/>
          </p:cNvSpPr>
          <p:nvPr>
            <p:ph type="body" sz="quarter" idx="20" hasCustomPrompt="1"/>
          </p:nvPr>
        </p:nvSpPr>
        <p:spPr>
          <a:xfrm>
            <a:off x="7580082" y="1569156"/>
            <a:ext cx="4115209" cy="3433265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5000" b="1" spc="5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Takeaway – the main takeaway from the slide</a:t>
            </a:r>
            <a:endParaRPr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C324036A-68DE-6347-ABBB-E4D6CBAE78C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Here">
            <a:extLst>
              <a:ext uri="{FF2B5EF4-FFF2-40B4-BE49-F238E27FC236}">
                <a16:creationId xmlns:a16="http://schemas.microsoft.com/office/drawing/2014/main" id="{E5B07B9F-21FA-6B44-80E8-EF9B14756AC2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6069796-1932-EB4B-9571-B0DEE9D82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272622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6351A0-0780-4E05-9A28-9B72230403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341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6351A0-0780-4E05-9A28-9B72230403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077958-2287-438E-A471-FE095F0E6A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2" name="Write description here.">
            <a:extLst>
              <a:ext uri="{FF2B5EF4-FFF2-40B4-BE49-F238E27FC236}">
                <a16:creationId xmlns:a16="http://schemas.microsoft.com/office/drawing/2014/main" id="{B055523C-B7C1-894C-A048-3542F2E50987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383975" y="1102714"/>
            <a:ext cx="3476403" cy="441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one line.</a:t>
            </a:r>
          </a:p>
        </p:txBody>
      </p:sp>
      <p:sp>
        <p:nvSpPr>
          <p:cNvPr id="23" name="Write description here.">
            <a:extLst>
              <a:ext uri="{FF2B5EF4-FFF2-40B4-BE49-F238E27FC236}">
                <a16:creationId xmlns:a16="http://schemas.microsoft.com/office/drawing/2014/main" id="{93FAA21A-6DDB-E54D-A5C1-E4B70C5A110D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253241" y="1102714"/>
            <a:ext cx="3476403" cy="441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one line.</a:t>
            </a:r>
          </a:p>
        </p:txBody>
      </p:sp>
      <p:sp>
        <p:nvSpPr>
          <p:cNvPr id="24" name="Write description here.">
            <a:extLst>
              <a:ext uri="{FF2B5EF4-FFF2-40B4-BE49-F238E27FC236}">
                <a16:creationId xmlns:a16="http://schemas.microsoft.com/office/drawing/2014/main" id="{5CA5BD5A-222B-6148-AEB3-16EE8A065653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8133797" y="1102713"/>
            <a:ext cx="3476403" cy="441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one line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3494055-8734-8D41-9CF0-D4F3083F282B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2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Slide Number">
            <a:extLst>
              <a:ext uri="{FF2B5EF4-FFF2-40B4-BE49-F238E27FC236}">
                <a16:creationId xmlns:a16="http://schemas.microsoft.com/office/drawing/2014/main" id="{FD024AB5-D15D-B74A-977C-853B77F7CC79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Here">
            <a:extLst>
              <a:ext uri="{FF2B5EF4-FFF2-40B4-BE49-F238E27FC236}">
                <a16:creationId xmlns:a16="http://schemas.microsoft.com/office/drawing/2014/main" id="{49BA58EF-022A-0345-A9ED-84972EE77D16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222B383-0408-A14D-A1DC-A4D53A91EF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C88EF47-E245-4CB5-9888-00BB2489FD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369" y="322712"/>
            <a:ext cx="11303920" cy="533479"/>
          </a:xfrm>
        </p:spPr>
        <p:txBody>
          <a:bodyPr wrap="square">
            <a:spAutoFit/>
          </a:bodyPr>
          <a:lstStyle>
            <a:lvl1pPr algn="l">
              <a:defRPr sz="2800" b="1">
                <a:latin typeface="+mj-lt"/>
              </a:defRPr>
            </a:lvl1pPr>
          </a:lstStyle>
          <a:p>
            <a:r>
              <a:rPr lang="en-US"/>
              <a:t>Title or Main Takeaway from Slide</a:t>
            </a:r>
          </a:p>
        </p:txBody>
      </p:sp>
    </p:spTree>
    <p:extLst>
      <p:ext uri="{BB962C8B-B14F-4D97-AF65-F5344CB8AC3E}">
        <p14:creationId xmlns:p14="http://schemas.microsoft.com/office/powerpoint/2010/main" val="2437269835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9C72C5-7331-4503-A90F-22E1405F1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3040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9C72C5-7331-4503-A90F-22E1405F1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19826CD-3EE2-4395-B36F-76D1B4B5BD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3" name="Write description here.">
            <a:extLst>
              <a:ext uri="{FF2B5EF4-FFF2-40B4-BE49-F238E27FC236}">
                <a16:creationId xmlns:a16="http://schemas.microsoft.com/office/drawing/2014/main" id="{93FAA21A-6DDB-E54D-A5C1-E4B70C5A110D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391366" y="1091424"/>
            <a:ext cx="4761433" cy="441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one line.</a:t>
            </a:r>
          </a:p>
        </p:txBody>
      </p:sp>
      <p:sp>
        <p:nvSpPr>
          <p:cNvPr id="17" name="Write description here.">
            <a:extLst>
              <a:ext uri="{FF2B5EF4-FFF2-40B4-BE49-F238E27FC236}">
                <a16:creationId xmlns:a16="http://schemas.microsoft.com/office/drawing/2014/main" id="{31C0309B-8F6E-4E49-BDE1-7D8FFDBE0F05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6338656" y="1091424"/>
            <a:ext cx="4761433" cy="4412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one line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B06D3E-61A3-4243-A297-927A3490FCBC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2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Slide Number">
            <a:extLst>
              <a:ext uri="{FF2B5EF4-FFF2-40B4-BE49-F238E27FC236}">
                <a16:creationId xmlns:a16="http://schemas.microsoft.com/office/drawing/2014/main" id="{AAFCACBC-A61F-DF4F-8BBB-0B3243FFB69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Here">
            <a:extLst>
              <a:ext uri="{FF2B5EF4-FFF2-40B4-BE49-F238E27FC236}">
                <a16:creationId xmlns:a16="http://schemas.microsoft.com/office/drawing/2014/main" id="{B64B96C9-C209-B545-A349-E467997991A3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168D887-4CE2-AB48-BD44-4247173322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0784CEE-63F8-419A-8377-334D2CBFAA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369" y="322712"/>
            <a:ext cx="11303920" cy="533479"/>
          </a:xfrm>
        </p:spPr>
        <p:txBody>
          <a:bodyPr wrap="square">
            <a:spAutoFit/>
          </a:bodyPr>
          <a:lstStyle>
            <a:lvl1pPr algn="l">
              <a:defRPr sz="2800" b="1">
                <a:latin typeface="+mj-lt"/>
              </a:defRPr>
            </a:lvl1pPr>
          </a:lstStyle>
          <a:p>
            <a:r>
              <a:rPr lang="en-US"/>
              <a:t>Title or Main Takeaway from Slide</a:t>
            </a:r>
          </a:p>
        </p:txBody>
      </p:sp>
    </p:spTree>
    <p:extLst>
      <p:ext uri="{BB962C8B-B14F-4D97-AF65-F5344CB8AC3E}">
        <p14:creationId xmlns:p14="http://schemas.microsoft.com/office/powerpoint/2010/main" val="54256790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rite Title here">
            <a:extLst>
              <a:ext uri="{FF2B5EF4-FFF2-40B4-BE49-F238E27FC236}">
                <a16:creationId xmlns:a16="http://schemas.microsoft.com/office/drawing/2014/main" id="{7CC523CA-8A50-8F4D-82CB-FBC1D1F41C63}"/>
              </a:ext>
            </a:extLst>
          </p:cNvPr>
          <p:cNvSpPr txBox="1">
            <a:spLocks noGrp="1"/>
          </p:cNvSpPr>
          <p:nvPr>
            <p:ph type="body" sz="quarter" idx="34" hasCustomPrompt="1"/>
          </p:nvPr>
        </p:nvSpPr>
        <p:spPr>
          <a:xfrm>
            <a:off x="6661595" y="3429000"/>
            <a:ext cx="3554851" cy="448841"/>
          </a:xfrm>
          <a:prstGeom prst="rect">
            <a:avLst/>
          </a:prstGeom>
        </p:spPr>
        <p:txBody>
          <a:bodyPr wrap="square" lIns="54864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SzTx/>
              <a:buNone/>
              <a:defRPr sz="230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Contact Us Info</a:t>
            </a:r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65CF94-FF83-C743-AD39-42A31C9B23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267" y="2079109"/>
            <a:ext cx="3428750" cy="6665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528DC0C-04ED-6445-9DAC-B782EA8225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9008" y="2018829"/>
            <a:ext cx="3359696" cy="783949"/>
          </a:xfrm>
          <a:prstGeom prst="rect">
            <a:avLst/>
          </a:prstGeom>
        </p:spPr>
      </p:pic>
      <p:sp>
        <p:nvSpPr>
          <p:cNvPr id="12" name="Title Here">
            <a:extLst>
              <a:ext uri="{FF2B5EF4-FFF2-40B4-BE49-F238E27FC236}">
                <a16:creationId xmlns:a16="http://schemas.microsoft.com/office/drawing/2014/main" id="{949DF66E-864D-A444-AA3C-F2F37A875076}"/>
              </a:ext>
            </a:extLst>
          </p:cNvPr>
          <p:cNvSpPr txBox="1"/>
          <p:nvPr userDrawn="1"/>
        </p:nvSpPr>
        <p:spPr>
          <a:xfrm>
            <a:off x="256716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l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9A882927-2144-3D4F-9323-BB45797974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054" y="824947"/>
            <a:ext cx="4684945" cy="6062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11619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FC601F-FF9B-D444-A74F-6F231919B8CA}"/>
              </a:ext>
            </a:extLst>
          </p:cNvPr>
          <p:cNvSpPr txBox="1"/>
          <p:nvPr userDrawn="1"/>
        </p:nvSpPr>
        <p:spPr>
          <a:xfrm>
            <a:off x="391366" y="2514600"/>
            <a:ext cx="5854390" cy="914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 anchorCtr="0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8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 Light"/>
              </a:rPr>
              <a:t>Appendix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0DC3115-0813-B249-A94C-A324247C948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Here">
            <a:extLst>
              <a:ext uri="{FF2B5EF4-FFF2-40B4-BE49-F238E27FC236}">
                <a16:creationId xmlns:a16="http://schemas.microsoft.com/office/drawing/2014/main" id="{CB9BE204-262A-714B-8001-486803373382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CF147E-7446-FD48-830F-D813069E3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ECBA8BEE-1B0A-1A41-A2ED-90C7A4589D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636" y="19878"/>
            <a:ext cx="52993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98179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0D29D4-C24D-48C4-BB62-37CECD9E0C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32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0D29D4-C24D-48C4-BB62-37CECD9E0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BCDC93A-26CA-4EA7-A22A-A64E406231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7" name="Write long sentence here.">
            <a:extLst>
              <a:ext uri="{FF2B5EF4-FFF2-40B4-BE49-F238E27FC236}">
                <a16:creationId xmlns:a16="http://schemas.microsoft.com/office/drawing/2014/main" id="{C598EE4F-BE85-AB4B-BDBB-C2B819040A22}"/>
              </a:ext>
            </a:extLst>
          </p:cNvPr>
          <p:cNvSpPr txBox="1">
            <a:spLocks noGrp="1"/>
          </p:cNvSpPr>
          <p:nvPr>
            <p:ph type="body" sz="quarter" idx="19" hasCustomPrompt="1"/>
          </p:nvPr>
        </p:nvSpPr>
        <p:spPr>
          <a:xfrm>
            <a:off x="391366" y="1426013"/>
            <a:ext cx="11281343" cy="407846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457200" indent="-457200">
              <a:lnSpc>
                <a:spcPct val="130000"/>
              </a:lnSpc>
              <a:spcBef>
                <a:spcPts val="0"/>
              </a:spcBef>
              <a:buSzTx/>
              <a:buFont typeface="+mj-lt"/>
              <a:buAutoNum type="arabicPeriod"/>
              <a:defRPr sz="2800" b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Chapter One</a:t>
            </a:r>
          </a:p>
          <a:p>
            <a:r>
              <a:rPr lang="en-US"/>
              <a:t>Chapter Two</a:t>
            </a:r>
          </a:p>
          <a:p>
            <a:r>
              <a:rPr lang="en-US"/>
              <a:t>Chapter Three</a:t>
            </a:r>
          </a:p>
          <a:p>
            <a:r>
              <a:rPr lang="en-US"/>
              <a:t>Chapter Four</a:t>
            </a:r>
          </a:p>
          <a:p>
            <a:endParaRPr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73756BCB-FE03-9C46-AB47-F187FF31C8C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29EFED-B80E-4897-A399-56C8C11D452C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2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36464F3-F275-4AE5-8956-7D7CF0264DA6}"/>
              </a:ext>
            </a:extLst>
          </p:cNvPr>
          <p:cNvSpPr txBox="1"/>
          <p:nvPr userDrawn="1"/>
        </p:nvSpPr>
        <p:spPr>
          <a:xfrm>
            <a:off x="391367" y="332697"/>
            <a:ext cx="11303922" cy="5416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4" tIns="54864" rIns="54864" bIns="54864" numCol="1" spcCol="38100" rtlCol="0" anchor="ctr" anchorCtr="0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495358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4CBA72-9649-4A53-A130-A3074E6059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289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4CBA72-9649-4A53-A130-A3074E605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7109B2-3F5B-473F-BA03-15FDF9168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F27D03-F7E1-C64B-A44E-4B14612D2C9F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2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B5381422-A1FA-E245-BF31-2BC4285BDE2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5D42C0-6E37-48EA-BC5B-A5D318670A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r Main Takeaway from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296FA1-455D-454D-B7DB-93D4EAC5DE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113" y="1180868"/>
            <a:ext cx="11303000" cy="45545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88941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 SLIDE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4CBA72-9649-4A53-A130-A3074E6059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310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4CBA72-9649-4A53-A130-A3074E605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7109B2-3F5B-473F-BA03-15FDF9168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8" name="Write description here.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391365" y="932026"/>
            <a:ext cx="11303921" cy="71895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12756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Sub-header – brief summary of detail behind key message – maximum 2 lines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F27D03-F7E1-C64B-A44E-4B14612D2C9F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2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Slide Number">
            <a:extLst>
              <a:ext uri="{FF2B5EF4-FFF2-40B4-BE49-F238E27FC236}">
                <a16:creationId xmlns:a16="http://schemas.microsoft.com/office/drawing/2014/main" id="{B5381422-A1FA-E245-BF31-2BC4285BDE2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5D42C0-6E37-48EA-BC5B-A5D318670A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r Main Takeaway from Slide</a:t>
            </a:r>
          </a:p>
        </p:txBody>
      </p:sp>
    </p:spTree>
    <p:extLst>
      <p:ext uri="{BB962C8B-B14F-4D97-AF65-F5344CB8AC3E}">
        <p14:creationId xmlns:p14="http://schemas.microsoft.com/office/powerpoint/2010/main" val="147360688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ONTENT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76ECB-1990-4116-922F-5CCC9378E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662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76ECB-1990-4116-922F-5CCC9378E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09893A-793B-4955-8026-0E5CA152BC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A0A5A7-0D0A-D840-BE9E-417C21DBE89C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0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D773A101-CA15-014E-9929-E201B9141BEB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Long sentence written here.">
            <a:extLst>
              <a:ext uri="{FF2B5EF4-FFF2-40B4-BE49-F238E27FC236}">
                <a16:creationId xmlns:a16="http://schemas.microsoft.com/office/drawing/2014/main" id="{E528EA32-1B83-D74D-BA64-478AA83ADB2D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838344" y="5660743"/>
            <a:ext cx="10515312" cy="441275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2200" b="1" spc="5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Kicker – emphasize the main point – one line.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30DF42F-B783-4373-84F4-83CB67085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 or Main Takeaway from Slide</a:t>
            </a:r>
          </a:p>
        </p:txBody>
      </p:sp>
    </p:spTree>
    <p:extLst>
      <p:ext uri="{BB962C8B-B14F-4D97-AF65-F5344CB8AC3E}">
        <p14:creationId xmlns:p14="http://schemas.microsoft.com/office/powerpoint/2010/main" val="53882856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Long sentence written here.">
            <a:extLst>
              <a:ext uri="{FF2B5EF4-FFF2-40B4-BE49-F238E27FC236}">
                <a16:creationId xmlns:a16="http://schemas.microsoft.com/office/drawing/2014/main" id="{5FCC444E-04A8-C94B-BA55-66402A74B4BA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829518" y="1064344"/>
            <a:ext cx="10015266" cy="73674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5200" b="1" spc="5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“Quote”</a:t>
            </a:r>
            <a:endParaRPr/>
          </a:p>
        </p:txBody>
      </p:sp>
      <p:sp>
        <p:nvSpPr>
          <p:cNvPr id="10" name="Write Title here">
            <a:extLst>
              <a:ext uri="{FF2B5EF4-FFF2-40B4-BE49-F238E27FC236}">
                <a16:creationId xmlns:a16="http://schemas.microsoft.com/office/drawing/2014/main" id="{298C194A-00DA-9B4D-978D-4C2BBB3DE253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879760" y="2546005"/>
            <a:ext cx="5216240" cy="35182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SzTx/>
              <a:buNone/>
              <a:defRPr sz="2300" b="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– Quoted name</a:t>
            </a:r>
            <a:endParaRPr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2FF98DE4-8BC4-7647-8B69-BB7767AAF3C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Here">
            <a:extLst>
              <a:ext uri="{FF2B5EF4-FFF2-40B4-BE49-F238E27FC236}">
                <a16:creationId xmlns:a16="http://schemas.microsoft.com/office/drawing/2014/main" id="{CAD737C7-460B-554D-BC41-801B3CB4010D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21231A-C908-DB4A-97EF-38A13A1A85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46948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ng sentence written here.">
            <a:extLst>
              <a:ext uri="{FF2B5EF4-FFF2-40B4-BE49-F238E27FC236}">
                <a16:creationId xmlns:a16="http://schemas.microsoft.com/office/drawing/2014/main" id="{011878A4-1957-1044-8C7E-C30520BC6A26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93701" y="2669818"/>
            <a:ext cx="10050423" cy="81060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5800" b="1" spc="5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Divider Slide — No Image</a:t>
            </a:r>
            <a:endParaRPr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E73D41F-D518-F449-9756-A191383DD53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Here">
            <a:extLst>
              <a:ext uri="{FF2B5EF4-FFF2-40B4-BE49-F238E27FC236}">
                <a16:creationId xmlns:a16="http://schemas.microsoft.com/office/drawing/2014/main" id="{7A90F490-3C65-2040-8896-E8AE716A0BDB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2C0E60-0DD4-8B45-9E3A-EB4523067F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C9619B74-179D-F344-A7DF-5546F76259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636" y="19878"/>
            <a:ext cx="52993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04101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D16FD5-64F7-4BA1-B91E-8A2ED8A9E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22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D16FD5-64F7-4BA1-B91E-8A2ED8A9E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" name="Long sentence written here.">
            <a:extLst>
              <a:ext uri="{FF2B5EF4-FFF2-40B4-BE49-F238E27FC236}">
                <a16:creationId xmlns:a16="http://schemas.microsoft.com/office/drawing/2014/main" id="{1B532105-ABCA-5340-B9A8-8D8DAC0E8EDD}"/>
              </a:ext>
            </a:extLst>
          </p:cNvPr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393701" y="1635507"/>
            <a:ext cx="10761979" cy="1446678"/>
          </a:xfrm>
          <a:prstGeom prst="rect">
            <a:avLst/>
          </a:prstGeom>
          <a:solidFill>
            <a:schemeClr val="tx1">
              <a:alpha val="70000"/>
            </a:schemeClr>
          </a:solidFill>
        </p:spPr>
        <p:txBody>
          <a:bodyPr wrap="square" lIns="365760" tIns="365760" rIns="365760" bIns="365760" anchor="ctr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5800" b="1" spc="5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/>
              </a:defRPr>
            </a:lvl1pPr>
          </a:lstStyle>
          <a:p>
            <a:r>
              <a:rPr lang="en-US"/>
              <a:t>Divider Slide — Imag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2850595-9F51-134C-A39B-F6242DD0DFA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Here">
            <a:extLst>
              <a:ext uri="{FF2B5EF4-FFF2-40B4-BE49-F238E27FC236}">
                <a16:creationId xmlns:a16="http://schemas.microsoft.com/office/drawing/2014/main" id="{A80B6980-839C-4B82-A9D4-AF604100BFB8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AA75A1-F96C-4D01-9020-8EDE722865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22668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930A45-457E-4ADA-9223-BC35B2258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337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930A45-457E-4ADA-9223-BC35B2258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C35EE0-78A4-422C-ACF8-5FECECDED9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7" name="Image"/>
          <p:cNvSpPr>
            <a:spLocks noGrp="1"/>
          </p:cNvSpPr>
          <p:nvPr>
            <p:ph type="pic" idx="13"/>
          </p:nvPr>
        </p:nvSpPr>
        <p:spPr>
          <a:xfrm>
            <a:off x="5939974" y="0"/>
            <a:ext cx="6252027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63800C0-67FA-F948-BD68-E3DB7A8AF4D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sp>
        <p:nvSpPr>
          <p:cNvPr id="15" name="Title Here">
            <a:extLst>
              <a:ext uri="{FF2B5EF4-FFF2-40B4-BE49-F238E27FC236}">
                <a16:creationId xmlns:a16="http://schemas.microsoft.com/office/drawing/2014/main" id="{DA289545-0D1C-4049-B7D9-CC7C172F018A}"/>
              </a:ext>
            </a:extLst>
          </p:cNvPr>
          <p:cNvSpPr txBox="1"/>
          <p:nvPr userDrawn="1"/>
        </p:nvSpPr>
        <p:spPr>
          <a:xfrm>
            <a:off x="4888446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l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CAD6042-121F-334F-9C4E-854520BE34E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2E1957D-2EF5-214B-A0DB-1FA4231EF512}"/>
              </a:ext>
            </a:extLst>
          </p:cNvPr>
          <p:cNvCxnSpPr>
            <a:cxnSpLocks/>
          </p:cNvCxnSpPr>
          <p:nvPr userDrawn="1"/>
        </p:nvCxnSpPr>
        <p:spPr>
          <a:xfrm>
            <a:off x="383975" y="1342430"/>
            <a:ext cx="5357068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1DA81F1-7AB1-4856-8501-BD808C7F28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975" y="357996"/>
            <a:ext cx="5357068" cy="964367"/>
          </a:xfrm>
        </p:spPr>
        <p:txBody>
          <a:bodyPr wrap="square">
            <a:spAutoFit/>
          </a:bodyPr>
          <a:lstStyle>
            <a:lvl1pPr algn="l">
              <a:defRPr sz="2800" b="1">
                <a:latin typeface="+mj-lt"/>
              </a:defRPr>
            </a:lvl1pPr>
          </a:lstStyle>
          <a:p>
            <a:r>
              <a:rPr lang="en-US"/>
              <a:t>Title or Main Takeaway from Slide (two lines)</a:t>
            </a:r>
          </a:p>
        </p:txBody>
      </p:sp>
    </p:spTree>
    <p:extLst>
      <p:ext uri="{BB962C8B-B14F-4D97-AF65-F5344CB8AC3E}">
        <p14:creationId xmlns:p14="http://schemas.microsoft.com/office/powerpoint/2010/main" val="1046465483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F07511-FFCA-4BE8-9881-D3B282DB1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0216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1" imgH="420" progId="TCLayout.ActiveDocument.1">
                  <p:embed/>
                </p:oleObj>
              </mc:Choice>
              <mc:Fallback>
                <p:oleObj name="think-cell Slide" r:id="rId17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1F07511-FFCA-4BE8-9881-D3B282DB1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ody Level One…"/>
          <p:cNvSpPr txBox="1">
            <a:spLocks noGrp="1"/>
          </p:cNvSpPr>
          <p:nvPr>
            <p:ph type="body" idx="1"/>
          </p:nvPr>
        </p:nvSpPr>
        <p:spPr>
          <a:xfrm>
            <a:off x="391367" y="1258919"/>
            <a:ext cx="1130392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91440" tIns="45720" rIns="91440" bIns="45720" anchor="t" anchorCtr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Title Text"/>
          <p:cNvSpPr txBox="1">
            <a:spLocks noGrp="1"/>
          </p:cNvSpPr>
          <p:nvPr>
            <p:ph type="title"/>
          </p:nvPr>
        </p:nvSpPr>
        <p:spPr>
          <a:xfrm>
            <a:off x="391367" y="294968"/>
            <a:ext cx="11303922" cy="5728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lang="en-US"/>
              <a:t>Title or Main Takeaway from Slide</a:t>
            </a:r>
            <a:endParaRPr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FEC5AA-5F80-41AC-9CC3-DFB4E3886240}"/>
              </a:ext>
            </a:extLst>
          </p:cNvPr>
          <p:cNvCxnSpPr>
            <a:cxnSpLocks/>
          </p:cNvCxnSpPr>
          <p:nvPr userDrawn="1"/>
        </p:nvCxnSpPr>
        <p:spPr>
          <a:xfrm>
            <a:off x="391367" y="867868"/>
            <a:ext cx="11303920" cy="0"/>
          </a:xfrm>
          <a:prstGeom prst="line">
            <a:avLst/>
          </a:prstGeom>
          <a:noFill/>
          <a:ln w="635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B5F6C7CB-42DB-4717-AE47-092FB8C35CA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6" y="6336940"/>
            <a:ext cx="1587301" cy="308564"/>
          </a:xfrm>
          <a:prstGeom prst="rect">
            <a:avLst/>
          </a:prstGeom>
        </p:spPr>
      </p:pic>
      <p:sp>
        <p:nvSpPr>
          <p:cNvPr id="9" name="Title Here">
            <a:extLst>
              <a:ext uri="{FF2B5EF4-FFF2-40B4-BE49-F238E27FC236}">
                <a16:creationId xmlns:a16="http://schemas.microsoft.com/office/drawing/2014/main" id="{6593F646-05D6-44F5-8FA9-68B39130A26F}"/>
              </a:ext>
            </a:extLst>
          </p:cNvPr>
          <p:cNvSpPr txBox="1"/>
          <p:nvPr userDrawn="1"/>
        </p:nvSpPr>
        <p:spPr>
          <a:xfrm>
            <a:off x="5212538" y="6487802"/>
            <a:ext cx="1766923" cy="1841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>
            <a:noAutofit/>
          </a:bodyPr>
          <a:lstStyle>
            <a:lvl1pPr algn="l">
              <a:lnSpc>
                <a:spcPct val="70000"/>
              </a:lnSpc>
              <a:defRPr sz="45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endParaRPr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2773F391-7416-42A1-92E6-E354769AFC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73369" y="6444826"/>
            <a:ext cx="398682" cy="22878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741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13" r:id="rId2"/>
    <p:sldLayoutId id="2147483725" r:id="rId3"/>
    <p:sldLayoutId id="2147483702" r:id="rId4"/>
    <p:sldLayoutId id="2147483703" r:id="rId5"/>
    <p:sldLayoutId id="2147483712" r:id="rId6"/>
    <p:sldLayoutId id="2147483710" r:id="rId7"/>
    <p:sldLayoutId id="2147483704" r:id="rId8"/>
    <p:sldLayoutId id="2147483709" r:id="rId9"/>
    <p:sldLayoutId id="2147483714" r:id="rId10"/>
    <p:sldLayoutId id="2147483715" r:id="rId11"/>
    <p:sldLayoutId id="2147483716" r:id="rId12"/>
    <p:sldLayoutId id="2147483707" r:id="rId13"/>
    <p:sldLayoutId id="2147483708" r:id="rId14"/>
  </p:sldLayoutIdLst>
  <p:transition spd="med"/>
  <p:hf hdr="0" ftr="0" dt="0"/>
  <p:txStyles>
    <p:titleStyle>
      <a:lvl1pPr marL="0" marR="0" indent="0" algn="l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14302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603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905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206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507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809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110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412" algn="ctr" defTabSz="41275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0" marR="0" indent="0" algn="l" defTabSz="412756" latinLnBrk="0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660404" marR="0" indent="-342900" algn="l" defTabSz="412756" latinLnBrk="0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977908" marR="0" indent="-342900" algn="l" defTabSz="412756" latinLnBrk="0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1295412" marR="0" indent="-342900" algn="l" defTabSz="412756" latinLnBrk="0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1612916" marR="0" indent="-342900" algn="l" defTabSz="412756" latinLnBrk="0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1905024" marR="0" indent="-317504" algn="l" defTabSz="412756" latinLnBrk="0">
        <a:lnSpc>
          <a:spcPct val="1000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6pPr>
      <a:lvl7pPr marL="2222528" marR="0" indent="-317504" algn="l" defTabSz="412756" latinLnBrk="0">
        <a:lnSpc>
          <a:spcPct val="1000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7pPr>
      <a:lvl8pPr marL="2540032" marR="0" indent="-317504" algn="l" defTabSz="412756" latinLnBrk="0">
        <a:lnSpc>
          <a:spcPct val="1000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8pPr>
      <a:lvl9pPr marL="2857536" marR="0" indent="-317504" algn="l" defTabSz="412756" latinLnBrk="0">
        <a:lnSpc>
          <a:spcPct val="1000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114302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228603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342905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457206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571507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685809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800110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914412" algn="ctr" defTabSz="41275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156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 pos="108">
          <p15:clr>
            <a:srgbClr val="F26B43"/>
          </p15:clr>
        </p15:guide>
        <p15:guide id="6" orient="horz" pos="39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benjamin-jupina-57a833251/" TargetMode="External"/><Relationship Id="rId2" Type="http://schemas.openxmlformats.org/officeDocument/2006/relationships/hyperlink" Target="mailto:benj210003@gmail.com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1F6A51-F97E-43ED-A42F-F2BE783DF6A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263" y="4285976"/>
            <a:ext cx="4892025" cy="595035"/>
          </a:xfrm>
        </p:spPr>
        <p:txBody>
          <a:bodyPr/>
          <a:lstStyle/>
          <a:p>
            <a:r>
              <a:rPr lang="en-US" sz="2000" dirty="0"/>
              <a:t>Ben Jupina</a:t>
            </a:r>
          </a:p>
          <a:p>
            <a:r>
              <a:rPr lang="en-US" sz="2000" dirty="0"/>
              <a:t>University of Pittsburgh class of ‘25</a:t>
            </a:r>
          </a:p>
          <a:p>
            <a:r>
              <a:rPr lang="en-US" sz="2000" dirty="0"/>
              <a:t>Computer Science Major</a:t>
            </a:r>
          </a:p>
          <a:p>
            <a:r>
              <a:rPr lang="en-US" sz="2000" dirty="0"/>
              <a:t>Civil Engineering Mino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2C4483-F209-4EF6-99F7-B6AB6AB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2191196"/>
            <a:ext cx="10739014" cy="1579920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Process Analyst Internship Recap – Summer 20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E441B4-D414-E448-BD88-791038AF4C04}"/>
              </a:ext>
            </a:extLst>
          </p:cNvPr>
          <p:cNvSpPr txBox="1"/>
          <p:nvPr/>
        </p:nvSpPr>
        <p:spPr>
          <a:xfrm>
            <a:off x="9627476" y="6484883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40" tIns="45720" rIns="91440" bIns="45720" numCol="1" spcCol="38100" rtlCol="0" anchor="t" anchorCtr="0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6576255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F918EE-390B-4DFC-BA46-309B5755A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38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F918EE-390B-4DFC-BA46-309B5755A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247BA6-C61B-4C7D-B93C-7E3C7A56B80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0A4333-FDD8-4A78-BF2E-FFEC49023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91" y="258754"/>
            <a:ext cx="11303922" cy="572899"/>
          </a:xfrm>
        </p:spPr>
        <p:txBody>
          <a:bodyPr/>
          <a:lstStyle/>
          <a:p>
            <a:r>
              <a:rPr lang="en-US" dirty="0"/>
              <a:t>What is the Process Analyst Department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77EC70-F07A-46DC-88A6-B09E5D30BC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113" y="1419876"/>
            <a:ext cx="11303000" cy="455453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rocess Planning Department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urns a Purchase Order (P.O.) Into a sequence of mill steps (Lineup)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Review requirements from purchase order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ntinues to work with order while in production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rders are stored in a backlog until completion</a:t>
            </a:r>
          </a:p>
          <a:p>
            <a:pPr marL="946154" lvl="1" indent="-285750"/>
            <a:r>
              <a:rPr lang="en-US" sz="2000" dirty="0"/>
              <a:t>Analysis of the backlog is important for the dept. to run smoothly</a:t>
            </a:r>
          </a:p>
          <a:p>
            <a:pPr marL="946154" lvl="1" indent="-285750"/>
            <a:endParaRPr lang="en-US" sz="20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0C82C68-2225-15D5-346E-37AC044EB5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082" y="949464"/>
            <a:ext cx="3143031" cy="549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46753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F918EE-390B-4DFC-BA46-309B5755A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F918EE-390B-4DFC-BA46-309B5755A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247BA6-C61B-4C7D-B93C-7E3C7A56B80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0A4333-FDD8-4A78-BF2E-FFEC49023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6186" y="286211"/>
            <a:ext cx="1639627" cy="572899"/>
          </a:xfrm>
        </p:spPr>
        <p:txBody>
          <a:bodyPr>
            <a:noAutofit/>
          </a:bodyPr>
          <a:lstStyle/>
          <a:p>
            <a:r>
              <a:rPr lang="en-US" sz="3000" dirty="0"/>
              <a:t>Projec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877EC70-F07A-46DC-88A6-B09E5D30BC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1793" y="1443722"/>
            <a:ext cx="7168412" cy="4554538"/>
          </a:xfrm>
        </p:spPr>
        <p:txBody>
          <a:bodyPr>
            <a:normAutofit/>
          </a:bodyPr>
          <a:lstStyle/>
          <a:p>
            <a:pPr marL="1003304" lvl="1"/>
            <a:r>
              <a:rPr lang="en-US" sz="3000" dirty="0"/>
              <a:t>Standard Operating Procedures</a:t>
            </a:r>
          </a:p>
          <a:p>
            <a:pPr marL="1320808" lvl="2"/>
            <a:r>
              <a:rPr lang="en-US" sz="3000" dirty="0"/>
              <a:t>Review &amp; upkeep of existing SOPs</a:t>
            </a:r>
          </a:p>
          <a:p>
            <a:pPr marL="1320808" lvl="2"/>
            <a:r>
              <a:rPr lang="en-US" sz="3000" dirty="0"/>
              <a:t>Creation of new SOPs</a:t>
            </a:r>
            <a:br>
              <a:rPr lang="en-US" sz="3000" dirty="0"/>
            </a:br>
            <a:endParaRPr lang="en-US" sz="3000" dirty="0"/>
          </a:p>
          <a:p>
            <a:pPr marL="1003304" lvl="1"/>
            <a:r>
              <a:rPr lang="en-US" sz="3000" dirty="0"/>
              <a:t>Data automation using ThoughtSpot</a:t>
            </a:r>
          </a:p>
          <a:p>
            <a:pPr marL="1320808" lvl="2"/>
            <a:r>
              <a:rPr lang="en-US" sz="3000" dirty="0"/>
              <a:t>Learning how to use a new software</a:t>
            </a:r>
          </a:p>
          <a:p>
            <a:pPr marL="1320808" lvl="2"/>
            <a:r>
              <a:rPr lang="en-US" sz="3000" dirty="0"/>
              <a:t>Automating backlog analysis</a:t>
            </a:r>
          </a:p>
        </p:txBody>
      </p:sp>
    </p:spTree>
    <p:extLst>
      <p:ext uri="{BB962C8B-B14F-4D97-AF65-F5344CB8AC3E}">
        <p14:creationId xmlns:p14="http://schemas.microsoft.com/office/powerpoint/2010/main" val="4473504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D65493-6978-4784-A0F0-ED82681B0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1369" y="1793173"/>
            <a:ext cx="4761433" cy="4412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OPs are currently stored in Lotus Notes, but are being moved to Cornerstone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move content that is no longer relevant; add content for new technologies (SAP, TIQ, etc.)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format documents for future ease of use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reate new SOP document for migration to Cornerston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AB15516-951B-47F2-9EDF-1F40F47678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489960-B395-8240-9826-B7A06BCFC7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83FFFFC-A203-4F09-91BA-F66A6923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P Migration – Review &amp; Upkeep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CAEAB2-7567-861F-6A0E-348741CF32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0009" y="4146183"/>
            <a:ext cx="6441991" cy="16574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7ECB9F-166C-33F0-A2CB-38DEADBDB4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2083" y="821500"/>
            <a:ext cx="5219968" cy="282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4338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2661AA-24D6-624B-90CC-779FEC6541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A5D987-684D-4B4E-A29C-3328DC2626C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13E861D-3A7B-1877-08C2-D99DDB0B0CB3}"/>
              </a:ext>
            </a:extLst>
          </p:cNvPr>
          <p:cNvSpPr txBox="1">
            <a:spLocks/>
          </p:cNvSpPr>
          <p:nvPr/>
        </p:nvSpPr>
        <p:spPr>
          <a:xfrm>
            <a:off x="391369" y="322712"/>
            <a:ext cx="11303920" cy="533479"/>
          </a:xfrm>
          <a:prstGeom prst="rect">
            <a:avLst/>
          </a:prstGeom>
        </p:spPr>
        <p:txBody>
          <a:bodyPr/>
          <a:lstStyle>
            <a:lvl1pPr marL="0" marR="0" indent="0" algn="l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114302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228603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342905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457206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571507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685809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800110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914412" algn="ctr" defTabSz="41275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r>
              <a:rPr lang="en-US"/>
              <a:t>SOP Migration – Creation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95C818-AF40-58AA-D388-69B6CBBB8808}"/>
              </a:ext>
            </a:extLst>
          </p:cNvPr>
          <p:cNvSpPr txBox="1">
            <a:spLocks/>
          </p:cNvSpPr>
          <p:nvPr/>
        </p:nvSpPr>
        <p:spPr>
          <a:xfrm>
            <a:off x="496709" y="1793173"/>
            <a:ext cx="5704631" cy="441275"/>
          </a:xfrm>
          <a:prstGeom prst="rect">
            <a:avLst/>
          </a:prstGeom>
        </p:spPr>
        <p:txBody>
          <a:bodyPr/>
          <a:lstStyle>
            <a:lvl1pPr marL="0" marR="0" indent="0" algn="l" defTabSz="412756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60404" marR="0" indent="-342900" algn="l" defTabSz="412756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77908" marR="0" indent="-342900" algn="l" defTabSz="412756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95412" marR="0" indent="-342900" algn="l" defTabSz="412756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612916" marR="0" indent="-342900" algn="l" defTabSz="412756" latinLnBrk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ln>
                  <a:noFill/>
                </a:ln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latinLnBrk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latinLnBrk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latinLnBrk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latinLnBrk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285750" indent="-285750" hangingPunct="1">
              <a:buFont typeface="Arial" panose="020B0604020202020204" pitchFamily="34" charset="0"/>
              <a:buChar char="•"/>
            </a:pPr>
            <a:r>
              <a:rPr lang="en-US" dirty="0"/>
              <a:t>Worked with current PAs to begin a new, extensive testing SOP in both Latrobe &amp; Reading</a:t>
            </a:r>
            <a:br>
              <a:rPr lang="en-US" dirty="0"/>
            </a:br>
            <a:endParaRPr lang="en-US" dirty="0"/>
          </a:p>
          <a:p>
            <a:pPr marL="285750" indent="-285750" hangingPunct="1">
              <a:buFont typeface="Arial" panose="020B0604020202020204" pitchFamily="34" charset="0"/>
              <a:buChar char="•"/>
            </a:pPr>
            <a:r>
              <a:rPr lang="en-US" dirty="0"/>
              <a:t>Used existing documents &amp; presentations to create a draft</a:t>
            </a:r>
            <a:br>
              <a:rPr lang="en-US" dirty="0"/>
            </a:br>
            <a:endParaRPr lang="en-US" dirty="0"/>
          </a:p>
          <a:p>
            <a:pPr marL="285750" indent="-285750" hangingPunct="1">
              <a:buFont typeface="Arial" panose="020B0604020202020204" pitchFamily="34" charset="0"/>
              <a:buChar char="•"/>
            </a:pPr>
            <a:r>
              <a:rPr lang="en-US" dirty="0"/>
              <a:t>Reviewed draft with current PAs </a:t>
            </a:r>
            <a:br>
              <a:rPr lang="en-US" dirty="0"/>
            </a:br>
            <a:endParaRPr lang="en-US" dirty="0"/>
          </a:p>
          <a:p>
            <a:pPr marL="285750" indent="-285750" hangingPunct="1">
              <a:buFont typeface="Arial" panose="020B0604020202020204" pitchFamily="34" charset="0"/>
              <a:buChar char="•"/>
            </a:pPr>
            <a:r>
              <a:rPr lang="en-US" dirty="0"/>
              <a:t>Created with the intent to add more in the future; living docum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4AC57B-E18E-A414-CC3C-74561B27DE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0567" y="1373572"/>
            <a:ext cx="4611918" cy="3915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88775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D65493-6978-4784-A0F0-ED82681B0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91369" y="1793173"/>
            <a:ext cx="4761433" cy="4412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Data analysis software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reated charts and tables that analyze the backlog for types of orders in backlogs, and who it is assigned to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harts are currently made by hand in Excel, but are now automated using ThoughtSpot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Use simple query statements to organize dat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AB15516-951B-47F2-9EDF-1F40F47678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489960-B395-8240-9826-B7A06BCFC7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83FFFFC-A203-4F09-91BA-F66A6923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oughtSpo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3E56A8-B139-49B8-A2FC-9DF8E2659D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7786" y="895105"/>
            <a:ext cx="6431107" cy="35191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46FF96E-CC11-B4B2-4227-B68338802F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839023"/>
            <a:ext cx="5207268" cy="101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11973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8F1DBF8-11E0-0D4E-B71C-165A439D9E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9396" y="721638"/>
            <a:ext cx="10015266" cy="736740"/>
          </a:xfrm>
        </p:spPr>
        <p:txBody>
          <a:bodyPr/>
          <a:lstStyle/>
          <a:p>
            <a:r>
              <a:rPr lang="en-US" sz="2800" dirty="0"/>
              <a:t>ThoughtSpot Examp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1CB18B-A9CB-9F42-8C4F-27F57D7A02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1B6C8-9E8E-294D-92B4-859251604F0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D86BC3-DCD9-D630-6DBE-D9B26CD69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697" y="1684701"/>
            <a:ext cx="6501871" cy="18105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1067587-0465-6FEC-2746-C7699038ED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1283" y="283069"/>
            <a:ext cx="4961159" cy="34385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A480816-32D4-5F1C-2A99-9A170ABFEA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090" y="3890160"/>
            <a:ext cx="8153819" cy="2521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27596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D65493-6978-4784-A0F0-ED82681B0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7062" y="1874552"/>
            <a:ext cx="4761433" cy="441275"/>
          </a:xfrm>
        </p:spPr>
        <p:txBody>
          <a:bodyPr/>
          <a:lstStyle/>
          <a:p>
            <a:r>
              <a:rPr lang="en-US" sz="2000" dirty="0"/>
              <a:t>Main Challenges</a:t>
            </a:r>
          </a:p>
          <a:p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oughtSpot is a very new software and has little documentation.</a:t>
            </a:r>
          </a:p>
          <a:p>
            <a:pPr marL="946154" lvl="1" indent="-285750"/>
            <a:r>
              <a:rPr lang="en-US" dirty="0"/>
              <a:t>Fun challenge to learn.</a:t>
            </a:r>
            <a:br>
              <a:rPr lang="en-US" dirty="0"/>
            </a:br>
            <a:endParaRPr lang="en-US" dirty="0"/>
          </a:p>
          <a:p>
            <a:pPr marL="946154" lvl="1" indent="-285750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Process Analysts must know the ins and outs of metallurgy, manufacturing, and how Carpenter operate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AB15516-951B-47F2-9EDF-1F40F47678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28023" y="1874552"/>
            <a:ext cx="4761433" cy="441275"/>
          </a:xfrm>
        </p:spPr>
        <p:txBody>
          <a:bodyPr/>
          <a:lstStyle/>
          <a:p>
            <a:r>
              <a:rPr lang="en-US" sz="1800" dirty="0"/>
              <a:t>Main Takeaways</a:t>
            </a:r>
          </a:p>
          <a:p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ommunication is the biggest key to success.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 I now have experience using actual databases to create useful analysis.</a:t>
            </a:r>
            <a:br>
              <a:rPr lang="en-US" b="0" dirty="0"/>
            </a:b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oft skills are equally as important as technical skills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489960-B395-8240-9826-B7A06BCFC7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83FFFFC-A203-4F09-91BA-F66A69230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69" y="333345"/>
            <a:ext cx="11303920" cy="533479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97910454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1F6A51-F97E-43ED-A42F-F2BE783DF6A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263" y="4817604"/>
            <a:ext cx="4892025" cy="595035"/>
          </a:xfrm>
        </p:spPr>
        <p:txBody>
          <a:bodyPr/>
          <a:lstStyle/>
          <a:p>
            <a:r>
              <a:rPr lang="en-US" sz="2000" dirty="0">
                <a:hlinkClick r:id="rId2"/>
              </a:rPr>
              <a:t>benj210003@gmail.com</a:t>
            </a:r>
            <a:endParaRPr lang="en-US" sz="2000" dirty="0"/>
          </a:p>
          <a:p>
            <a:r>
              <a:rPr lang="en-US" sz="2000" dirty="0"/>
              <a:t>484-379-7566</a:t>
            </a:r>
          </a:p>
          <a:p>
            <a:r>
              <a:rPr lang="en-US" sz="2000" dirty="0">
                <a:hlinkClick r:id="rId3"/>
              </a:rPr>
              <a:t>Benjamin Jupina | LinkedIn</a:t>
            </a:r>
            <a:endParaRPr lang="en-US" sz="2000" dirty="0"/>
          </a:p>
          <a:p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2C4483-F209-4EF6-99F7-B6AB6AB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2560528"/>
            <a:ext cx="10739014" cy="841256"/>
          </a:xfrm>
        </p:spPr>
        <p:txBody>
          <a:bodyPr/>
          <a:lstStyle/>
          <a:p>
            <a:r>
              <a:rPr lang="en-US" dirty="0">
                <a:ea typeface="Calibri"/>
                <a:cs typeface="Calibri"/>
              </a:rPr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E441B4-D414-E448-BD88-791038AF4C04}"/>
              </a:ext>
            </a:extLst>
          </p:cNvPr>
          <p:cNvSpPr txBox="1"/>
          <p:nvPr/>
        </p:nvSpPr>
        <p:spPr>
          <a:xfrm>
            <a:off x="9627476" y="6484883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40" tIns="45720" rIns="91440" bIns="45720" numCol="1" spcCol="38100" rtlCol="0" anchor="t" anchorCtr="0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3941516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Jw7C3qQ9GhrdqRxOr_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5qRHfVSOqtN33UCzus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fNzwYTTgWtBSfYfVVv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6nvSZmSZeIoZcaXtpf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jdzwnoTFKpVie4VkEw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TNFLqQIahx.nckGJz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sY5T1TCyeJLaN2Qoe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Jw7C3qQ9GhrdqRxOr_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theme/theme1.xml><?xml version="1.0" encoding="utf-8"?>
<a:theme xmlns:a="http://schemas.openxmlformats.org/drawingml/2006/main" name="1_Black">
  <a:themeElements>
    <a:clrScheme name="Custom 1">
      <a:dk1>
        <a:srgbClr val="101820"/>
      </a:dk1>
      <a:lt1>
        <a:srgbClr val="FFFFFF"/>
      </a:lt1>
      <a:dk2>
        <a:srgbClr val="E30046"/>
      </a:dk2>
      <a:lt2>
        <a:srgbClr val="C8C9C7"/>
      </a:lt2>
      <a:accent1>
        <a:srgbClr val="1D4F91"/>
      </a:accent1>
      <a:accent2>
        <a:srgbClr val="407EC9"/>
      </a:accent2>
      <a:accent3>
        <a:srgbClr val="6CACE3"/>
      </a:accent3>
      <a:accent4>
        <a:srgbClr val="000000"/>
      </a:accent4>
      <a:accent5>
        <a:srgbClr val="97999B"/>
      </a:accent5>
      <a:accent6>
        <a:srgbClr val="C8C9C7"/>
      </a:accent6>
      <a:hlink>
        <a:srgbClr val="0000FF"/>
      </a:hlink>
      <a:folHlink>
        <a:srgbClr val="FF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2200" dirty="0" smtClean="0">
            <a:solidFill>
              <a:schemeClr val="tx1"/>
            </a:solidFill>
            <a:ea typeface="Verdana" pitchFamily="34" charset="0"/>
            <a:cs typeface="Verdana" pitchFamily="34" charset="0"/>
          </a:defRPr>
        </a:defPPr>
      </a:lstStyle>
    </a:spDef>
    <a:lnDef>
      <a:spPr>
        <a:noFill/>
        <a:ln w="25400" cap="flat">
          <a:solidFill>
            <a:schemeClr val="accent4"/>
          </a:solidFill>
          <a:prstDash val="solid"/>
          <a:miter lim="400000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91440" tIns="45720" rIns="91440" bIns="45720" numCol="1" spcCol="38100" rtlCol="0" anchor="t" anchorCtr="0">
        <a:no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 dirty="0" smtClean="0">
            <a:ln>
              <a:noFill/>
            </a:ln>
            <a:solidFill>
              <a:schemeClr val="tx1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Black">
  <a:themeElements>
    <a:clrScheme name="Black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065C1"/>
      </a:accent1>
      <a:accent2>
        <a:srgbClr val="00A6AC"/>
      </a:accent2>
      <a:accent3>
        <a:srgbClr val="308B16"/>
      </a:accent3>
      <a:accent4>
        <a:srgbClr val="BC8027"/>
      </a:accent4>
      <a:accent5>
        <a:srgbClr val="971817"/>
      </a:accent5>
      <a:accent6>
        <a:srgbClr val="5747C1"/>
      </a:accent6>
      <a:hlink>
        <a:srgbClr val="0000FF"/>
      </a:hlink>
      <a:folHlink>
        <a:srgbClr val="FF00FF"/>
      </a:folHlink>
    </a:clrScheme>
    <a:fontScheme name="Black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DC2C28013B8E448275CF02263E9AC2" ma:contentTypeVersion="10" ma:contentTypeDescription="Create a new document." ma:contentTypeScope="" ma:versionID="61f820d478a3636d13760ee690212bb6">
  <xsd:schema xmlns:xsd="http://www.w3.org/2001/XMLSchema" xmlns:xs="http://www.w3.org/2001/XMLSchema" xmlns:p="http://schemas.microsoft.com/office/2006/metadata/properties" xmlns:ns3="dd93956d-71ba-4184-a613-09703b2cf8bb" xmlns:ns4="b951e769-708c-4b2d-a624-850a8c76bd6c" targetNamespace="http://schemas.microsoft.com/office/2006/metadata/properties" ma:root="true" ma:fieldsID="bfd8ce4a55a1a21fb659c3f965073039" ns3:_="" ns4:_="">
    <xsd:import namespace="dd93956d-71ba-4184-a613-09703b2cf8bb"/>
    <xsd:import namespace="b951e769-708c-4b2d-a624-850a8c76bd6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93956d-71ba-4184-a613-09703b2cf8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51e769-708c-4b2d-a624-850a8c76bd6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d93956d-71ba-4184-a613-09703b2cf8bb" xsi:nil="true"/>
  </documentManagement>
</p:properties>
</file>

<file path=customXml/itemProps1.xml><?xml version="1.0" encoding="utf-8"?>
<ds:datastoreItem xmlns:ds="http://schemas.openxmlformats.org/officeDocument/2006/customXml" ds:itemID="{6E1FA53F-E119-47D4-8E64-9C186418C6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93956d-71ba-4184-a613-09703b2cf8bb"/>
    <ds:schemaRef ds:uri="b951e769-708c-4b2d-a624-850a8c76bd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A20C580-B252-4711-841A-4D71B5E4BA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0485A4-1A05-491F-BEF2-9F9FA2076507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b951e769-708c-4b2d-a624-850a8c76bd6c"/>
    <ds:schemaRef ds:uri="dd93956d-71ba-4184-a613-09703b2cf8b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1</TotalTime>
  <Words>370</Words>
  <Application>Microsoft Office PowerPoint</Application>
  <PresentationFormat>Widescreen</PresentationFormat>
  <Paragraphs>5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Helvetica Neue</vt:lpstr>
      <vt:lpstr>1_Black</vt:lpstr>
      <vt:lpstr>think-cell Slide</vt:lpstr>
      <vt:lpstr>Process Analyst Internship Recap – Summer 2023</vt:lpstr>
      <vt:lpstr>What is the Process Analyst Department?</vt:lpstr>
      <vt:lpstr>Projects</vt:lpstr>
      <vt:lpstr>SOP Migration – Review &amp; Upkeep</vt:lpstr>
      <vt:lpstr>PowerPoint Presentation</vt:lpstr>
      <vt:lpstr>ThoughtSpot</vt:lpstr>
      <vt:lpstr>PowerPoint Presentation</vt:lpstr>
      <vt:lpstr>Overview</vt:lpstr>
      <vt:lpstr>Questions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chael Stein</dc:creator>
  <cp:keywords/>
  <dc:description/>
  <cp:lastModifiedBy>Ben J</cp:lastModifiedBy>
  <cp:revision>21</cp:revision>
  <cp:lastPrinted>2018-12-19T20:19:32Z</cp:lastPrinted>
  <dcterms:modified xsi:type="dcterms:W3CDTF">2023-08-11T14:15:0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DC2C28013B8E448275CF02263E9AC2</vt:lpwstr>
  </property>
  <property fmtid="{D5CDD505-2E9C-101B-9397-08002B2CF9AE}" pid="3" name="MediaServiceImageTags">
    <vt:lpwstr/>
  </property>
  <property fmtid="{D5CDD505-2E9C-101B-9397-08002B2CF9AE}" pid="4" name="MSIP_Label_43d77a19-b6a5-4bcf-a882-463516b3730e_Enabled">
    <vt:lpwstr>true</vt:lpwstr>
  </property>
  <property fmtid="{D5CDD505-2E9C-101B-9397-08002B2CF9AE}" pid="5" name="MSIP_Label_43d77a19-b6a5-4bcf-a882-463516b3730e_SetDate">
    <vt:lpwstr>2023-08-11T14:05:40Z</vt:lpwstr>
  </property>
  <property fmtid="{D5CDD505-2E9C-101B-9397-08002B2CF9AE}" pid="6" name="MSIP_Label_43d77a19-b6a5-4bcf-a882-463516b3730e_Method">
    <vt:lpwstr>Privileged</vt:lpwstr>
  </property>
  <property fmtid="{D5CDD505-2E9C-101B-9397-08002B2CF9AE}" pid="7" name="MSIP_Label_43d77a19-b6a5-4bcf-a882-463516b3730e_Name">
    <vt:lpwstr>43d77a19-b6a5-4bcf-a882-463516b3730e</vt:lpwstr>
  </property>
  <property fmtid="{D5CDD505-2E9C-101B-9397-08002B2CF9AE}" pid="8" name="MSIP_Label_43d77a19-b6a5-4bcf-a882-463516b3730e_SiteId">
    <vt:lpwstr>8fd4ff6c-056d-4f5d-9094-eaed89bc6daf</vt:lpwstr>
  </property>
  <property fmtid="{D5CDD505-2E9C-101B-9397-08002B2CF9AE}" pid="9" name="MSIP_Label_43d77a19-b6a5-4bcf-a882-463516b3730e_ActionId">
    <vt:lpwstr>464d81f5-a56b-4997-96fe-a206ea79cb28</vt:lpwstr>
  </property>
  <property fmtid="{D5CDD505-2E9C-101B-9397-08002B2CF9AE}" pid="10" name="MSIP_Label_43d77a19-b6a5-4bcf-a882-463516b3730e_ContentBits">
    <vt:lpwstr>0</vt:lpwstr>
  </property>
</Properties>
</file>